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300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62" autoAdjust="0"/>
    <p:restoredTop sz="94660"/>
  </p:normalViewPr>
  <p:slideViewPr>
    <p:cSldViewPr showGuides="1">
      <p:cViewPr varScale="1">
        <p:scale>
          <a:sx n="81" d="100"/>
          <a:sy n="81" d="100"/>
        </p:scale>
        <p:origin x="102" y="48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13866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3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469414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202348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96749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6339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5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83076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9906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197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2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A3FBB20F-2380-4837-B80B-95CE3FA1B0E1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écupérez jusqu'à 60 % de l'air de souffl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6201" y="141985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ARK : kit de récupération d'air pour le process HR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lvl="0"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optimisation des </a:t>
            </a: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ûts</a:t>
            </a:r>
            <a:r>
              <a:rPr lang="fr-FR">
                <a:solidFill>
                  <a:srgbClr val="000000"/>
                </a:solidFill>
              </a:rPr>
              <a:t>, Développement durable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 Series 2 avec process HR</a:t>
            </a: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576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noProof="0" dirty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L'option de récupération d'air permet </a:t>
                      </a: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de récupérer plus de la moitié de l'air utilisé</a:t>
                      </a:r>
                      <a:r>
                        <a:rPr lang="fr-FR" sz="1200" b="0" noProof="0" dirty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 pour le convertir </a:t>
                      </a:r>
                      <a:r>
                        <a:rPr lang="fr-FR" sz="1200" noProof="0" dirty="0"/>
                        <a:t>en air de </a:t>
                      </a:r>
                      <a:r>
                        <a:rPr lang="fr-FR" sz="1200" noProof="0" dirty="0" err="1"/>
                        <a:t>présoufflage</a:t>
                      </a:r>
                      <a:r>
                        <a:rPr lang="fr-FR" sz="1200" noProof="0" dirty="0"/>
                        <a:t>, en air de </a:t>
                      </a:r>
                      <a:r>
                        <a:rPr lang="fr-FR" sz="1200" noProof="0" dirty="0" err="1"/>
                        <a:t>vérinage</a:t>
                      </a:r>
                      <a:r>
                        <a:rPr lang="fr-FR" sz="1200" noProof="0" dirty="0"/>
                        <a:t> et en air pour le réseau usin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noProof="0" dirty="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Autre critère à considérer : l’excellente intégration à la machine. Les paramètres associés à l'option de récupération sont sauvegardés dans les recettes de </a:t>
                      </a:r>
                      <a:r>
                        <a:rPr lang="fr-FR" sz="1200" b="0" noProof="0" dirty="0" err="1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+mn-cs"/>
                        </a:rPr>
                        <a:t>process</a:t>
                      </a:r>
                      <a:endParaRPr lang="fr-FR" sz="1200" b="0" noProof="0" dirty="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Investissements réduits</a:t>
                      </a:r>
                      <a:r>
                        <a:rPr lang="fr-FR" sz="1200" noProof="0" dirty="0"/>
                        <a:t> grâce à des compresseurs à air plus petit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Récupération de 60 % de l'air</a:t>
                      </a:r>
                      <a:r>
                        <a:rPr lang="fr-FR" sz="1200" noProof="0" dirty="0"/>
                        <a:t> consommé pour la production de bouteilles </a:t>
                      </a:r>
                      <a:r>
                        <a:rPr lang="fr-FR" sz="1200" noProof="0" dirty="0" err="1"/>
                        <a:t>Heat</a:t>
                      </a:r>
                      <a:r>
                        <a:rPr lang="fr-FR" sz="1200" noProof="0" dirty="0"/>
                        <a:t> Set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e volume d'air récupéré dépend du type de souffleuse et des conditions de production :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adence de la machine, nombre de postes de soufflage, pression de présoufflage et de soufflage, capacité des bouteille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'air récupéré peut être réutilisé pour :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e présoufflage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'alimentation en air des vérins de tuyère et d'élongation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e sortie d'air basse pression à l'extérieur de la machine (la souffleuse fait office de compresseur BP)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 version PCC minimum requise pour installer cet O&amp;U est la V2.02, pour les versions antérieures une mise à jour du PCC est nécessaire 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2919" y="4696529"/>
            <a:ext cx="1092561" cy="968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F4CFAD6A-93A1-4C12-8746-37BB31F76F61}"/>
              </a:ext>
            </a:extLst>
          </p:cNvPr>
          <p:cNvSpPr/>
          <p:nvPr/>
        </p:nvSpPr>
        <p:spPr>
          <a:xfrm>
            <a:off x="4763307" y="1737477"/>
            <a:ext cx="3882218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924589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61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Wingdings</vt:lpstr>
      <vt:lpstr>LIOMT</vt:lpstr>
      <vt:lpstr>think-cell Folie</vt:lpstr>
      <vt:lpstr>Récupérez jusqu'à 60 % de l'air de souffl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4</cp:revision>
  <dcterms:created xsi:type="dcterms:W3CDTF">2014-05-22T13:23:46Z</dcterms:created>
  <dcterms:modified xsi:type="dcterms:W3CDTF">2019-10-10T13:0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3:02:52.6156922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